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1"/>
  </p:sldMasterIdLst>
  <p:notesMasterIdLst>
    <p:notesMasterId r:id="rId11"/>
  </p:notesMasterIdLst>
  <p:sldIdLst>
    <p:sldId id="258" r:id="rId2"/>
    <p:sldId id="259" r:id="rId3"/>
    <p:sldId id="261" r:id="rId4"/>
    <p:sldId id="262" r:id="rId5"/>
    <p:sldId id="263" r:id="rId6"/>
    <p:sldId id="264" r:id="rId7"/>
    <p:sldId id="265" r:id="rId8"/>
    <p:sldId id="266" r:id="rId9"/>
    <p:sldId id="267" r:id="rId1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>
        <p:scale>
          <a:sx n="66" d="100"/>
          <a:sy n="66" d="100"/>
        </p:scale>
        <p:origin x="516" y="3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D8F8C6-D3BE-45EA-BE71-BD87519A507B}" type="datetimeFigureOut">
              <a:rPr lang="en-US" smtClean="0"/>
              <a:t>4/1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E677E6-AFE2-47DF-89AC-072F5FE540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5881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E05C8-AD15-43CF-ABBF-D36AB05D9D31}" type="datetimeFigureOut">
              <a:rPr lang="en-US" smtClean="0"/>
              <a:t>4/1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0C57D-A6F4-4FB2-9EA7-B24A6DD13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096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E05C8-AD15-43CF-ABBF-D36AB05D9D31}" type="datetimeFigureOut">
              <a:rPr lang="en-US" smtClean="0"/>
              <a:t>4/1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0C57D-A6F4-4FB2-9EA7-B24A6DD13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7190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E05C8-AD15-43CF-ABBF-D36AB05D9D31}" type="datetimeFigureOut">
              <a:rPr lang="en-US" smtClean="0"/>
              <a:t>4/1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0C57D-A6F4-4FB2-9EA7-B24A6DD133CE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157815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E05C8-AD15-43CF-ABBF-D36AB05D9D31}" type="datetimeFigureOut">
              <a:rPr lang="en-US" smtClean="0"/>
              <a:t>4/1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0C57D-A6F4-4FB2-9EA7-B24A6DD13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5894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E05C8-AD15-43CF-ABBF-D36AB05D9D31}" type="datetimeFigureOut">
              <a:rPr lang="en-US" smtClean="0"/>
              <a:t>4/1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0C57D-A6F4-4FB2-9EA7-B24A6DD133CE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0186692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E05C8-AD15-43CF-ABBF-D36AB05D9D31}" type="datetimeFigureOut">
              <a:rPr lang="en-US" smtClean="0"/>
              <a:t>4/1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0C57D-A6F4-4FB2-9EA7-B24A6DD13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3919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E05C8-AD15-43CF-ABBF-D36AB05D9D31}" type="datetimeFigureOut">
              <a:rPr lang="en-US" smtClean="0"/>
              <a:t>4/1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0C57D-A6F4-4FB2-9EA7-B24A6DD13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93731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E05C8-AD15-43CF-ABBF-D36AB05D9D31}" type="datetimeFigureOut">
              <a:rPr lang="en-US" smtClean="0"/>
              <a:t>4/1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0C57D-A6F4-4FB2-9EA7-B24A6DD13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9664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fidenti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1998" cy="6856213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4" y="6356353"/>
            <a:ext cx="12192000" cy="365125"/>
          </a:xfrm>
          <a:prstGeom prst="rect">
            <a:avLst/>
          </a:prstGeom>
          <a:solidFill>
            <a:srgbClr val="282C3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70000" lnSpcReduction="20000"/>
          </a:bodyPr>
          <a:lstStyle/>
          <a:p>
            <a:pPr algn="ctr"/>
            <a:endParaRPr lang="en-US" sz="3199"/>
          </a:p>
        </p:txBody>
      </p:sp>
      <p:sp>
        <p:nvSpPr>
          <p:cNvPr id="17" name="Rectangle 16"/>
          <p:cNvSpPr/>
          <p:nvPr userDrawn="1"/>
        </p:nvSpPr>
        <p:spPr>
          <a:xfrm>
            <a:off x="10522296" y="6356352"/>
            <a:ext cx="1060105" cy="365125"/>
          </a:xfrm>
          <a:prstGeom prst="rect">
            <a:avLst/>
          </a:prstGeom>
          <a:solidFill>
            <a:srgbClr val="D53A2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70000" lnSpcReduction="20000"/>
          </a:bodyPr>
          <a:lstStyle/>
          <a:p>
            <a:pPr algn="ctr"/>
            <a:endParaRPr lang="en-US" sz="3199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22294" y="6356352"/>
            <a:ext cx="1060108" cy="365125"/>
          </a:xfrm>
          <a:prstGeom prst="rect">
            <a:avLst/>
          </a:prstGeom>
        </p:spPr>
        <p:txBody>
          <a:bodyPr>
            <a:normAutofit/>
          </a:bodyPr>
          <a:lstStyle/>
          <a:p>
            <a:fld id="{1FCAD19F-1849-EF4A-A766-A0D1ED8427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963086" y="6341618"/>
            <a:ext cx="2083819" cy="369332"/>
          </a:xfrm>
          <a:prstGeom prst="rect">
            <a:avLst/>
          </a:prstGeom>
        </p:spPr>
        <p:txBody>
          <a:bodyPr wrap="none">
            <a:normAutofit/>
          </a:bodyPr>
          <a:lstStyle/>
          <a:p>
            <a:r>
              <a:rPr lang="en-GB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pany Confidential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63086" y="3631121"/>
            <a:ext cx="10363200" cy="1362075"/>
          </a:xfrm>
        </p:spPr>
        <p:txBody>
          <a:bodyPr anchor="b">
            <a:normAutofit/>
          </a:bodyPr>
          <a:lstStyle>
            <a:lvl1pPr algn="l">
              <a:defRPr sz="5332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963086" y="4993196"/>
            <a:ext cx="10363200" cy="586693"/>
          </a:xfrm>
        </p:spPr>
        <p:txBody>
          <a:bodyPr anchor="t">
            <a:normAutofit/>
          </a:bodyPr>
          <a:lstStyle>
            <a:lvl1pPr marL="0" indent="0">
              <a:buNone/>
              <a:defRPr sz="2666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  <a:lvl2pPr marL="609448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2pPr>
            <a:lvl3pPr marL="1218895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343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4pPr>
            <a:lvl5pPr marL="2437790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5pPr>
            <a:lvl6pPr marL="3047238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6pPr>
            <a:lvl7pPr marL="3656686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7pPr>
            <a:lvl8pPr marL="4266133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8pPr>
            <a:lvl9pPr marL="487558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4624" y="6335521"/>
            <a:ext cx="1469993" cy="430748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963086" y="5611864"/>
            <a:ext cx="10363200" cy="513723"/>
          </a:xfrm>
        </p:spPr>
        <p:txBody>
          <a:bodyPr anchor="t">
            <a:normAutofit/>
          </a:bodyPr>
          <a:lstStyle>
            <a:lvl1pPr marL="0" indent="0">
              <a:buNone/>
              <a:defRPr sz="1733">
                <a:solidFill>
                  <a:schemeClr val="bg1"/>
                </a:solidFill>
                <a:latin typeface="Calibri"/>
                <a:cs typeface="Calibri"/>
              </a:defRPr>
            </a:lvl1pPr>
            <a:lvl2pPr marL="660215" indent="0">
              <a:buNone/>
              <a:defRPr sz="2599">
                <a:solidFill>
                  <a:schemeClr val="tx1">
                    <a:tint val="75000"/>
                  </a:schemeClr>
                </a:solidFill>
              </a:defRPr>
            </a:lvl2pPr>
            <a:lvl3pPr marL="1320430" indent="0">
              <a:buNone/>
              <a:defRPr sz="2310">
                <a:solidFill>
                  <a:schemeClr val="tx1">
                    <a:tint val="75000"/>
                  </a:schemeClr>
                </a:solidFill>
              </a:defRPr>
            </a:lvl3pPr>
            <a:lvl4pPr marL="1980643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4pPr>
            <a:lvl5pPr marL="2640858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5pPr>
            <a:lvl6pPr marL="3301073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6pPr>
            <a:lvl7pPr marL="3961288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7pPr>
            <a:lvl8pPr marL="4621502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8pPr>
            <a:lvl9pPr marL="5281717" indent="0">
              <a:buNone/>
              <a:defRPr sz="202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fld id="{9D66EF87-D89A-4B53-99E3-9E4B55CF7EF6}" type="datetime2">
              <a:rPr lang="en-US" smtClean="0"/>
              <a:t>Tuesday, November 15,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730340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1249871" y="1570271"/>
            <a:ext cx="9912002" cy="4572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82880" rIns="72000" bIns="182880" rtlCol="0" anchor="ctr">
            <a:noAutofit/>
          </a:bodyPr>
          <a:lstStyle>
            <a:lvl1pPr>
              <a:defRPr lang="en-US" sz="18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241240">
              <a:spcBef>
                <a:spcPct val="0"/>
              </a:spcBef>
              <a:buFont typeface="Arial" panose="020B0604020202020204" pitchFamily="34" charset="0"/>
              <a:buChar char="​"/>
            </a:pPr>
            <a:r>
              <a:rPr lang="en-US"/>
              <a:t>Edit Master text styles</a:t>
            </a:r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1249871" y="2213667"/>
            <a:ext cx="9912002" cy="4572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82880" rIns="72000" bIns="182880" rtlCol="0" anchor="ctr">
            <a:noAutofit/>
          </a:bodyPr>
          <a:lstStyle>
            <a:lvl1pPr>
              <a:defRPr lang="en-US" sz="18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241240">
              <a:spcBef>
                <a:spcPct val="0"/>
              </a:spcBef>
              <a:buFont typeface="Arial" panose="020B0604020202020204" pitchFamily="34" charset="0"/>
              <a:buChar char="​"/>
            </a:pPr>
            <a:r>
              <a:rPr lang="en-US"/>
              <a:t>Edit Master text styles</a:t>
            </a:r>
          </a:p>
        </p:txBody>
      </p:sp>
      <p:sp>
        <p:nvSpPr>
          <p:cNvPr id="73" name="Text Placeholder 2"/>
          <p:cNvSpPr>
            <a:spLocks noGrp="1"/>
          </p:cNvSpPr>
          <p:nvPr>
            <p:ph type="body" sz="quarter" idx="26"/>
            <p:custDataLst>
              <p:tags r:id="rId3"/>
            </p:custDataLst>
          </p:nvPr>
        </p:nvSpPr>
        <p:spPr>
          <a:xfrm>
            <a:off x="1249871" y="2857063"/>
            <a:ext cx="9912002" cy="4572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82880" rIns="72000" bIns="182880" rtlCol="0" anchor="ctr">
            <a:noAutofit/>
          </a:bodyPr>
          <a:lstStyle>
            <a:lvl1pPr>
              <a:defRPr lang="en-US" sz="18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241240">
              <a:spcBef>
                <a:spcPct val="0"/>
              </a:spcBef>
              <a:buFont typeface="Arial" panose="020B0604020202020204" pitchFamily="34" charset="0"/>
              <a:buChar char="​"/>
            </a:pPr>
            <a:r>
              <a:rPr lang="en-US"/>
              <a:t>Edit Master text styles</a:t>
            </a:r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27"/>
            <p:custDataLst>
              <p:tags r:id="rId4"/>
            </p:custDataLst>
          </p:nvPr>
        </p:nvSpPr>
        <p:spPr>
          <a:xfrm>
            <a:off x="1249871" y="3500459"/>
            <a:ext cx="9912002" cy="4572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82880" rIns="72000" bIns="182880" rtlCol="0" anchor="ctr">
            <a:noAutofit/>
          </a:bodyPr>
          <a:lstStyle>
            <a:lvl1pPr>
              <a:defRPr lang="en-US" sz="18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241240">
              <a:spcBef>
                <a:spcPct val="0"/>
              </a:spcBef>
              <a:buFont typeface="Arial" panose="020B0604020202020204" pitchFamily="34" charset="0"/>
              <a:buChar char="​"/>
            </a:pPr>
            <a:r>
              <a:rPr lang="en-US"/>
              <a:t>Edit Master text styles</a:t>
            </a:r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28"/>
            <p:custDataLst>
              <p:tags r:id="rId5"/>
            </p:custDataLst>
          </p:nvPr>
        </p:nvSpPr>
        <p:spPr>
          <a:xfrm>
            <a:off x="1249871" y="4143855"/>
            <a:ext cx="9912002" cy="4572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82880" rIns="72000" bIns="182880" rtlCol="0" anchor="ctr">
            <a:noAutofit/>
          </a:bodyPr>
          <a:lstStyle>
            <a:lvl1pPr>
              <a:defRPr lang="en-US" sz="18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241240">
              <a:spcBef>
                <a:spcPct val="0"/>
              </a:spcBef>
              <a:buFont typeface="Arial" panose="020B0604020202020204" pitchFamily="34" charset="0"/>
              <a:buChar char="​"/>
            </a:pPr>
            <a:r>
              <a:rPr lang="en-US"/>
              <a:t>Edit Master text styles</a:t>
            </a:r>
          </a:p>
        </p:txBody>
      </p:sp>
      <p:sp>
        <p:nvSpPr>
          <p:cNvPr id="76" name="Text Placeholder 2"/>
          <p:cNvSpPr>
            <a:spLocks noGrp="1"/>
          </p:cNvSpPr>
          <p:nvPr>
            <p:ph type="body" sz="quarter" idx="29"/>
            <p:custDataLst>
              <p:tags r:id="rId6"/>
            </p:custDataLst>
          </p:nvPr>
        </p:nvSpPr>
        <p:spPr>
          <a:xfrm>
            <a:off x="1249871" y="4787251"/>
            <a:ext cx="9912002" cy="4572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82880" rIns="72000" bIns="182880" rtlCol="0" anchor="ctr">
            <a:noAutofit/>
          </a:bodyPr>
          <a:lstStyle>
            <a:lvl1pPr>
              <a:defRPr lang="en-US" sz="18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241240">
              <a:spcBef>
                <a:spcPct val="0"/>
              </a:spcBef>
              <a:buFont typeface="Arial" panose="020B0604020202020204" pitchFamily="34" charset="0"/>
              <a:buChar char="​"/>
            </a:pPr>
            <a:r>
              <a:rPr lang="en-US"/>
              <a:t>Edit Master text styles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30"/>
            <p:custDataLst>
              <p:tags r:id="rId7"/>
            </p:custDataLst>
          </p:nvPr>
        </p:nvSpPr>
        <p:spPr>
          <a:xfrm>
            <a:off x="1249871" y="5430644"/>
            <a:ext cx="9912002" cy="4572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82880" rIns="72000" bIns="182880" rtlCol="0" anchor="ctr">
            <a:noAutofit/>
          </a:bodyPr>
          <a:lstStyle>
            <a:lvl1pPr>
              <a:defRPr lang="en-US" sz="18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241240">
              <a:spcBef>
                <a:spcPct val="0"/>
              </a:spcBef>
              <a:buFont typeface="Arial" panose="020B0604020202020204" pitchFamily="34" charset="0"/>
              <a:buChar char="​"/>
            </a:pPr>
            <a:r>
              <a:rPr lang="en-US"/>
              <a:t>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/>
            </a:pPr>
            <a:fld id="{91D03FF3-2B9E-4617-A592-48F56EC63E6E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61" name="Text Placeholder 60"/>
          <p:cNvSpPr>
            <a:spLocks noGrp="1"/>
          </p:cNvSpPr>
          <p:nvPr>
            <p:ph type="body" sz="quarter" idx="12" hasCustomPrompt="1"/>
          </p:nvPr>
        </p:nvSpPr>
        <p:spPr>
          <a:xfrm>
            <a:off x="618653" y="1570273"/>
            <a:ext cx="548784" cy="45561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48" rIns="182848" rtlCol="0" anchor="ctr">
            <a:noAutofit/>
          </a:bodyPr>
          <a:lstStyle>
            <a:lvl1pPr marL="0" indent="0" algn="ctr">
              <a:buFont typeface="Arial" panose="020B0604020202020204" pitchFamily="34" charset="0"/>
              <a:buChar char="​"/>
              <a:defRPr lang="en-US" sz="26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>
              <a:defRPr lang="en-US" dirty="0" smtClean="0">
                <a:solidFill>
                  <a:schemeClr val="lt1"/>
                </a:solidFill>
              </a:defRPr>
            </a:lvl2pPr>
            <a:lvl3pPr>
              <a:defRPr lang="en-US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 marL="2126346" indent="0">
              <a:buNone/>
              <a:defRPr lang="en-US" dirty="0">
                <a:solidFill>
                  <a:schemeClr val="lt1"/>
                </a:solidFill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63" name="Text Placeholder 60"/>
          <p:cNvSpPr>
            <a:spLocks noGrp="1"/>
          </p:cNvSpPr>
          <p:nvPr>
            <p:ph type="body" sz="quarter" idx="13" hasCustomPrompt="1"/>
          </p:nvPr>
        </p:nvSpPr>
        <p:spPr>
          <a:xfrm>
            <a:off x="618653" y="2214463"/>
            <a:ext cx="548784" cy="45561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2848" tIns="0" rIns="182848" bIns="0" rtlCol="0" anchor="ctr">
            <a:noAutofit/>
          </a:bodyPr>
          <a:lstStyle>
            <a:lvl1pPr algn="ctr">
              <a:buFontTx/>
              <a:buNone/>
              <a:defRPr lang="en-US" sz="26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4" name="Text Placeholder 60"/>
          <p:cNvSpPr>
            <a:spLocks noGrp="1"/>
          </p:cNvSpPr>
          <p:nvPr>
            <p:ph type="body" sz="quarter" idx="14" hasCustomPrompt="1"/>
          </p:nvPr>
        </p:nvSpPr>
        <p:spPr>
          <a:xfrm>
            <a:off x="618653" y="2857833"/>
            <a:ext cx="548784" cy="45561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2848" tIns="0" rIns="182848" bIns="0" rtlCol="0" anchor="ctr">
            <a:noAutofit/>
          </a:bodyPr>
          <a:lstStyle>
            <a:lvl1pPr algn="ctr">
              <a:buFontTx/>
              <a:buNone/>
              <a:defRPr lang="en-US" sz="26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5" name="Text Placeholder 60"/>
          <p:cNvSpPr>
            <a:spLocks noGrp="1"/>
          </p:cNvSpPr>
          <p:nvPr>
            <p:ph type="body" sz="quarter" idx="15" hasCustomPrompt="1"/>
          </p:nvPr>
        </p:nvSpPr>
        <p:spPr>
          <a:xfrm>
            <a:off x="618653" y="3501431"/>
            <a:ext cx="548784" cy="45561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2848" tIns="0" rIns="182848" bIns="0" rtlCol="0" anchor="ctr">
            <a:noAutofit/>
          </a:bodyPr>
          <a:lstStyle>
            <a:lvl1pPr algn="ctr">
              <a:buFontTx/>
              <a:buNone/>
              <a:defRPr lang="en-US" sz="26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6" name="Text Placeholder 60"/>
          <p:cNvSpPr>
            <a:spLocks noGrp="1"/>
          </p:cNvSpPr>
          <p:nvPr>
            <p:ph type="body" sz="quarter" idx="16" hasCustomPrompt="1"/>
          </p:nvPr>
        </p:nvSpPr>
        <p:spPr>
          <a:xfrm>
            <a:off x="618653" y="4145033"/>
            <a:ext cx="548784" cy="45561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2848" tIns="0" rIns="182848" bIns="0" rtlCol="0" anchor="ctr">
            <a:noAutofit/>
          </a:bodyPr>
          <a:lstStyle>
            <a:lvl1pPr algn="ctr">
              <a:buFontTx/>
              <a:buNone/>
              <a:defRPr lang="en-US" sz="26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7" name="Text Placeholder 60"/>
          <p:cNvSpPr>
            <a:spLocks noGrp="1"/>
          </p:cNvSpPr>
          <p:nvPr>
            <p:ph type="body" sz="quarter" idx="17" hasCustomPrompt="1"/>
          </p:nvPr>
        </p:nvSpPr>
        <p:spPr>
          <a:xfrm>
            <a:off x="618653" y="4788633"/>
            <a:ext cx="548784" cy="45561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2848" tIns="0" rIns="182848" bIns="0" rtlCol="0" anchor="ctr">
            <a:noAutofit/>
          </a:bodyPr>
          <a:lstStyle>
            <a:lvl1pPr algn="ctr">
              <a:buFontTx/>
              <a:buNone/>
              <a:defRPr lang="en-US" sz="26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8" name="Text Placeholder 60"/>
          <p:cNvSpPr>
            <a:spLocks noGrp="1"/>
          </p:cNvSpPr>
          <p:nvPr>
            <p:ph type="body" sz="quarter" idx="18" hasCustomPrompt="1"/>
          </p:nvPr>
        </p:nvSpPr>
        <p:spPr>
          <a:xfrm>
            <a:off x="618653" y="5432235"/>
            <a:ext cx="548784" cy="45561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2848" tIns="0" rIns="182848" bIns="0" rtlCol="0" anchor="ctr">
            <a:noAutofit/>
          </a:bodyPr>
          <a:lstStyle>
            <a:lvl1pPr algn="ctr">
              <a:buFontTx/>
              <a:buNone/>
              <a:defRPr lang="en-US" sz="2666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1158673" y="119522"/>
            <a:ext cx="10423728" cy="817721"/>
          </a:xfrm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1167438" y="1004338"/>
            <a:ext cx="10414964" cy="326180"/>
          </a:xfrm>
        </p:spPr>
        <p:txBody>
          <a:bodyPr anchor="ctr">
            <a:noAutofit/>
          </a:bodyPr>
          <a:lstStyle>
            <a:lvl1pPr marL="0" indent="0">
              <a:buNone/>
              <a:defRPr sz="23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2296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E05C8-AD15-43CF-ABBF-D36AB05D9D31}" type="datetimeFigureOut">
              <a:rPr lang="en-US" smtClean="0"/>
              <a:t>4/1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0C57D-A6F4-4FB2-9EA7-B24A6DD13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781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E05C8-AD15-43CF-ABBF-D36AB05D9D31}" type="datetimeFigureOut">
              <a:rPr lang="en-US" smtClean="0"/>
              <a:t>4/1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0C57D-A6F4-4FB2-9EA7-B24A6DD13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130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E05C8-AD15-43CF-ABBF-D36AB05D9D31}" type="datetimeFigureOut">
              <a:rPr lang="en-US" smtClean="0"/>
              <a:t>4/1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0C57D-A6F4-4FB2-9EA7-B24A6DD13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532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E05C8-AD15-43CF-ABBF-D36AB05D9D31}" type="datetimeFigureOut">
              <a:rPr lang="en-US" smtClean="0"/>
              <a:t>4/18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0C57D-A6F4-4FB2-9EA7-B24A6DD13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2105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E05C8-AD15-43CF-ABBF-D36AB05D9D31}" type="datetimeFigureOut">
              <a:rPr lang="en-US" smtClean="0"/>
              <a:t>4/1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0C57D-A6F4-4FB2-9EA7-B24A6DD13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9983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E05C8-AD15-43CF-ABBF-D36AB05D9D31}" type="datetimeFigureOut">
              <a:rPr lang="en-US" smtClean="0"/>
              <a:t>4/18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0C57D-A6F4-4FB2-9EA7-B24A6DD13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1248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E05C8-AD15-43CF-ABBF-D36AB05D9D31}" type="datetimeFigureOut">
              <a:rPr lang="en-US" smtClean="0"/>
              <a:t>4/1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0C57D-A6F4-4FB2-9EA7-B24A6DD13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4447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E05C8-AD15-43CF-ABBF-D36AB05D9D31}" type="datetimeFigureOut">
              <a:rPr lang="en-US" smtClean="0"/>
              <a:t>4/1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0C57D-A6F4-4FB2-9EA7-B24A6DD13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8541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6E05C8-AD15-43CF-ABBF-D36AB05D9D31}" type="datetimeFigureOut">
              <a:rPr lang="en-US" smtClean="0"/>
              <a:t>4/1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0E10C57D-A6F4-4FB2-9EA7-B24A6DD13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355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0" r:id="rId16"/>
    <p:sldLayoutId id="2147483681" r:id="rId17"/>
    <p:sldLayoutId id="2147483682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impress-MCP/IPS_Bastion_Guacamole" TargetMode="External"/><Relationship Id="rId2" Type="http://schemas.openxmlformats.org/officeDocument/2006/relationships/hyperlink" Target="https://barbican.ips.cimpress.io/guacamole/#/" TargetMode="Externa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jpeg"/><Relationship Id="rId4" Type="http://schemas.openxmlformats.org/officeDocument/2006/relationships/hyperlink" Target="https://guacamole.apache.org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1FCAD19F-1849-EF4A-A766-A0D1ED8427F3}" type="slidenum">
              <a:rPr lang="en-US" smtClean="0"/>
              <a:t>1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astion host: apache guacamole	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US" dirty="0"/>
              <a:t>Securely access your back-end instances with a web-based bastion host!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5"/>
          </p:nvPr>
        </p:nvSpPr>
        <p:spPr>
          <a:xfrm>
            <a:off x="964424" y="5611864"/>
            <a:ext cx="10360501" cy="513723"/>
          </a:xfrm>
        </p:spPr>
        <p:txBody>
          <a:bodyPr>
            <a:normAutofit/>
          </a:bodyPr>
          <a:lstStyle/>
          <a:p>
            <a:pPr marL="0" indent="0" algn="r">
              <a:buNone/>
            </a:pPr>
            <a:r>
              <a:rPr lang="en-US" sz="2000" i="1" dirty="0"/>
              <a:t>…You’re not leaving them in public subnets with </a:t>
            </a:r>
            <a:r>
              <a:rPr lang="en-US" sz="2000" i="1" dirty="0" err="1"/>
              <a:t>ssh</a:t>
            </a:r>
            <a:r>
              <a:rPr lang="en-US" sz="2000" i="1" dirty="0"/>
              <a:t> open, right?</a:t>
            </a:r>
          </a:p>
        </p:txBody>
      </p:sp>
    </p:spTree>
    <p:extLst>
      <p:ext uri="{BB962C8B-B14F-4D97-AF65-F5344CB8AC3E}">
        <p14:creationId xmlns:p14="http://schemas.microsoft.com/office/powerpoint/2010/main" val="12256318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24"/>
          </p:nvPr>
        </p:nvSpPr>
        <p:spPr>
          <a:xfrm>
            <a:off x="1249871" y="1570271"/>
            <a:ext cx="7778015" cy="457200"/>
          </a:xfrm>
        </p:spPr>
        <p:txBody>
          <a:bodyPr/>
          <a:lstStyle/>
          <a:p>
            <a:r>
              <a:rPr lang="en-US" dirty="0"/>
              <a:t>The Past: On-Premise Datacent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1249871" y="2213667"/>
            <a:ext cx="7778015" cy="457200"/>
          </a:xfrm>
        </p:spPr>
        <p:txBody>
          <a:bodyPr/>
          <a:lstStyle/>
          <a:p>
            <a:r>
              <a:rPr lang="en-US" dirty="0"/>
              <a:t>Jumping to the Future: Clou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1249871" y="2857063"/>
            <a:ext cx="7778015" cy="457200"/>
          </a:xfrm>
        </p:spPr>
        <p:txBody>
          <a:bodyPr/>
          <a:lstStyle/>
          <a:p>
            <a:r>
              <a:rPr lang="en-US" dirty="0"/>
              <a:t>Future and Beyond: </a:t>
            </a:r>
            <a:r>
              <a:rPr lang="en-US" dirty="0" err="1"/>
              <a:t>ZeroTrus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1249871" y="3500459"/>
            <a:ext cx="7778015" cy="457200"/>
          </a:xfrm>
        </p:spPr>
        <p:txBody>
          <a:bodyPr/>
          <a:lstStyle/>
          <a:p>
            <a:r>
              <a:rPr lang="en-US" dirty="0"/>
              <a:t>Remote access? Welcome Bas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1249871" y="4143855"/>
            <a:ext cx="7778015" cy="457200"/>
          </a:xfrm>
        </p:spPr>
        <p:txBody>
          <a:bodyPr/>
          <a:lstStyle/>
          <a:p>
            <a:r>
              <a:rPr lang="en-US" dirty="0"/>
              <a:t>Meet Guacamole: HTML5, clientless Remote Desktop Gateway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9"/>
          </p:nvPr>
        </p:nvSpPr>
        <p:spPr>
          <a:xfrm>
            <a:off x="1249871" y="4787251"/>
            <a:ext cx="7778015" cy="457200"/>
          </a:xfrm>
        </p:spPr>
        <p:txBody>
          <a:bodyPr/>
          <a:lstStyle/>
          <a:p>
            <a:r>
              <a:rPr lang="en-US" dirty="0"/>
              <a:t>Overview: Infrastructure and Terraform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0"/>
          </p:nvPr>
        </p:nvSpPr>
        <p:spPr>
          <a:xfrm>
            <a:off x="1249871" y="5430644"/>
            <a:ext cx="7778015" cy="457200"/>
          </a:xfrm>
        </p:spPr>
        <p:txBody>
          <a:bodyPr/>
          <a:lstStyle/>
          <a:p>
            <a:r>
              <a:rPr lang="en-US" dirty="0"/>
              <a:t>Live Demo! Links and Q&amp;A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/>
          </a:bodyPr>
          <a:lstStyle/>
          <a:p>
            <a:pPr>
              <a:defRPr/>
            </a:pPr>
            <a:fld id="{91D03FF3-2B9E-4617-A592-48F56EC63E6E}" type="slidenum">
              <a:rPr lang="en-US" noProof="0" smtClean="0"/>
              <a:pPr>
                <a:defRPr/>
              </a:pPr>
              <a:t>2</a:t>
            </a:fld>
            <a:endParaRPr lang="en-US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1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4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5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6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7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9997789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E352525-9A02-439E-8450-A7F33C8C3DCE}"/>
              </a:ext>
            </a:extLst>
          </p:cNvPr>
          <p:cNvSpPr txBox="1">
            <a:spLocks/>
          </p:cNvSpPr>
          <p:nvPr/>
        </p:nvSpPr>
        <p:spPr>
          <a:xfrm>
            <a:off x="0" y="145143"/>
            <a:ext cx="8533148" cy="7547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cap="all" dirty="0">
                <a:solidFill>
                  <a:srgbClr val="F0553A"/>
                </a:solidFill>
              </a:rPr>
              <a:t>The Past: On-premise dc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6598207-7545-4492-8A74-851A6F9BBB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4400" y="740228"/>
            <a:ext cx="3386313" cy="558254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6622952-4D12-420E-B352-53D8ADD649F7}"/>
              </a:ext>
            </a:extLst>
          </p:cNvPr>
          <p:cNvSpPr txBox="1"/>
          <p:nvPr/>
        </p:nvSpPr>
        <p:spPr>
          <a:xfrm>
            <a:off x="62368" y="1262741"/>
            <a:ext cx="5932032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Edge firewall,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maybe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with a DMZ with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exposed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public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services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and/or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load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balancer</a:t>
            </a:r>
            <a:endParaRPr lang="it-IT" sz="2400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Courier New" panose="02070309020205020404" pitchFamily="49" charset="0"/>
              <a:buChar char="o"/>
            </a:pPr>
            <a:endParaRPr lang="it-IT" sz="2400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Internal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Network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is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«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Trusted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» by default (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epic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misconception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from the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ancient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times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)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endParaRPr lang="it-IT" sz="2400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Remote access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is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managed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through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VPN</a:t>
            </a:r>
            <a:endParaRPr lang="es-ES" sz="2400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1917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E352525-9A02-439E-8450-A7F33C8C3DCE}"/>
              </a:ext>
            </a:extLst>
          </p:cNvPr>
          <p:cNvSpPr txBox="1">
            <a:spLocks/>
          </p:cNvSpPr>
          <p:nvPr/>
        </p:nvSpPr>
        <p:spPr>
          <a:xfrm>
            <a:off x="0" y="145143"/>
            <a:ext cx="8533148" cy="7547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cap="all" dirty="0">
                <a:solidFill>
                  <a:srgbClr val="F0553A"/>
                </a:solidFill>
              </a:rPr>
              <a:t>Jumping to the future: clou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622952-4D12-420E-B352-53D8ADD649F7}"/>
              </a:ext>
            </a:extLst>
          </p:cNvPr>
          <p:cNvSpPr txBox="1"/>
          <p:nvPr/>
        </p:nvSpPr>
        <p:spPr>
          <a:xfrm>
            <a:off x="137888" y="1335314"/>
            <a:ext cx="391097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Move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to AWS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endParaRPr lang="it-IT" sz="2400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VPC with Corporate back-end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connectivity</a:t>
            </a:r>
            <a:endParaRPr lang="it-IT" sz="2400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Courier New" panose="02070309020205020404" pitchFamily="49" charset="0"/>
              <a:buChar char="o"/>
            </a:pPr>
            <a:endParaRPr lang="it-IT" sz="2400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Remote access to private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subnets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is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allowed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only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through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corp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network </a:t>
            </a:r>
            <a:endParaRPr lang="es-ES" sz="2400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7BAF796-BCB2-4573-AEBF-566E33F680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8862" y="819193"/>
            <a:ext cx="4920969" cy="6046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9036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E352525-9A02-439E-8450-A7F33C8C3DCE}"/>
              </a:ext>
            </a:extLst>
          </p:cNvPr>
          <p:cNvSpPr txBox="1">
            <a:spLocks/>
          </p:cNvSpPr>
          <p:nvPr/>
        </p:nvSpPr>
        <p:spPr>
          <a:xfrm>
            <a:off x="0" y="145143"/>
            <a:ext cx="8533148" cy="7547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cap="all" dirty="0">
                <a:solidFill>
                  <a:srgbClr val="F0553A"/>
                </a:solidFill>
              </a:rPr>
              <a:t>Future and beyond: zero trus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77A40F-1DA4-4499-A5D4-3976D9275E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828" y="660720"/>
            <a:ext cx="9149932" cy="552279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73B148F-EEA6-4157-A366-DA2B404002EF}"/>
              </a:ext>
            </a:extLst>
          </p:cNvPr>
          <p:cNvSpPr txBox="1"/>
          <p:nvPr/>
        </p:nvSpPr>
        <p:spPr>
          <a:xfrm>
            <a:off x="4266574" y="5721853"/>
            <a:ext cx="46227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i="1" dirty="0">
                <a:solidFill>
                  <a:schemeClr val="accent2">
                    <a:lumMod val="75000"/>
                  </a:schemeClr>
                </a:solidFill>
              </a:rPr>
              <a:t>…Goodbye, corporate network!</a:t>
            </a:r>
            <a:endParaRPr lang="es-ES" sz="2400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79034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E352525-9A02-439E-8450-A7F33C8C3DCE}"/>
              </a:ext>
            </a:extLst>
          </p:cNvPr>
          <p:cNvSpPr txBox="1">
            <a:spLocks/>
          </p:cNvSpPr>
          <p:nvPr/>
        </p:nvSpPr>
        <p:spPr>
          <a:xfrm>
            <a:off x="0" y="145143"/>
            <a:ext cx="9483760" cy="7547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cap="all" dirty="0">
                <a:solidFill>
                  <a:srgbClr val="F0553A"/>
                </a:solidFill>
              </a:rPr>
              <a:t>Remote access? Welcome bastion</a:t>
            </a:r>
          </a:p>
        </p:txBody>
      </p:sp>
      <p:pic>
        <p:nvPicPr>
          <p:cNvPr id="1026" name="Picture 2" descr="Risultati immagini per bastion host aws">
            <a:extLst>
              <a:ext uri="{FF2B5EF4-FFF2-40B4-BE49-F238E27FC236}">
                <a16:creationId xmlns:a16="http://schemas.microsoft.com/office/drawing/2014/main" id="{55278A63-E621-4459-845C-EDD394A80A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005" y="2991757"/>
            <a:ext cx="5905500" cy="361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F653F53-3D46-46FE-AD7F-CC8B29A56197}"/>
              </a:ext>
            </a:extLst>
          </p:cNvPr>
          <p:cNvSpPr txBox="1"/>
          <p:nvPr/>
        </p:nvSpPr>
        <p:spPr>
          <a:xfrm>
            <a:off x="-39232" y="919051"/>
            <a:ext cx="1002506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Key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Needs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:</a:t>
            </a:r>
          </a:p>
          <a:p>
            <a:pPr marL="914400" lvl="1" indent="-457200">
              <a:buFont typeface="+mj-lt"/>
              <a:buAutoNum type="arabicPeriod"/>
            </a:pP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Reach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our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private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instances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from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anywhere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in the world</a:t>
            </a:r>
          </a:p>
          <a:p>
            <a:pPr marL="914400" lvl="1" indent="-457200">
              <a:buFont typeface="+mj-lt"/>
              <a:buAutoNum type="arabicPeriod"/>
            </a:pP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Multifactor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Authentication</a:t>
            </a:r>
            <a:endParaRPr lang="it-IT" sz="2400" dirty="0">
              <a:solidFill>
                <a:schemeClr val="accent2">
                  <a:lumMod val="75000"/>
                </a:schemeClr>
              </a:solidFill>
            </a:endParaRPr>
          </a:p>
          <a:p>
            <a:pPr marL="914400" lvl="1" indent="-457200">
              <a:buFont typeface="+mj-lt"/>
              <a:buAutoNum type="arabicPeriod"/>
            </a:pP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Scalable,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highly-available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and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repeatable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 </a:t>
            </a:r>
          </a:p>
          <a:p>
            <a:pPr marL="914400" lvl="1" indent="-457200">
              <a:buFont typeface="+mj-lt"/>
              <a:buAutoNum type="arabicPeriod"/>
            </a:pPr>
            <a:endParaRPr lang="it-IT" sz="2400" dirty="0">
              <a:solidFill>
                <a:schemeClr val="accent2">
                  <a:lumMod val="75000"/>
                </a:schemeClr>
              </a:solidFill>
            </a:endParaRPr>
          </a:p>
          <a:p>
            <a:pPr marL="4000500" lvl="8" indent="-342900" algn="r">
              <a:buFont typeface="Courier New" panose="02070309020205020404" pitchFamily="49" charset="0"/>
              <a:buChar char="o"/>
            </a:pP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Solution: Apache </a:t>
            </a:r>
            <a:r>
              <a:rPr lang="it-IT" sz="2400" dirty="0" err="1">
                <a:solidFill>
                  <a:schemeClr val="accent2">
                    <a:lumMod val="75000"/>
                  </a:schemeClr>
                </a:solidFill>
              </a:rPr>
              <a:t>Guacamole</a:t>
            </a:r>
            <a:r>
              <a:rPr lang="it-IT" sz="2400" dirty="0">
                <a:solidFill>
                  <a:schemeClr val="accent2">
                    <a:lumMod val="75000"/>
                  </a:schemeClr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8309862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E352525-9A02-439E-8450-A7F33C8C3DCE}"/>
              </a:ext>
            </a:extLst>
          </p:cNvPr>
          <p:cNvSpPr txBox="1">
            <a:spLocks/>
          </p:cNvSpPr>
          <p:nvPr/>
        </p:nvSpPr>
        <p:spPr>
          <a:xfrm>
            <a:off x="188683" y="261258"/>
            <a:ext cx="9483760" cy="7547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cap="all" dirty="0">
                <a:solidFill>
                  <a:srgbClr val="F0553A"/>
                </a:solidFill>
              </a:rPr>
              <a:t>Meet the bastion 2.0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FB9D26-67D9-49E0-8B1E-1EE5DDBED5A0}"/>
              </a:ext>
            </a:extLst>
          </p:cNvPr>
          <p:cNvSpPr txBox="1"/>
          <p:nvPr/>
        </p:nvSpPr>
        <p:spPr>
          <a:xfrm>
            <a:off x="634336" y="2583997"/>
            <a:ext cx="8592455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Key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Features:</a:t>
            </a:r>
          </a:p>
          <a:p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Clientless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, HTML5 Web Application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Running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on Tomcat +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guacd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service (remote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connections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daemon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)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Supports SSH, RDP, VNC and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Multifactor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Auth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(DUO)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Deployed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in AWS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through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Terraform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: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Autoscaling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groups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+ multiple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availability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zones</a:t>
            </a:r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Created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as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a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module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, re-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usable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and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automated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deployment</a:t>
            </a:r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Courier New" panose="02070309020205020404" pitchFamily="49" charset="0"/>
              <a:buChar char="o"/>
            </a:pPr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Open Source!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  <a:p>
            <a:pPr marL="800100" lvl="1" indent="-342900">
              <a:buFont typeface="Courier New" panose="02070309020205020404" pitchFamily="49" charset="0"/>
              <a:buChar char="o"/>
            </a:pPr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  <a:p>
            <a:pPr marL="800100" lvl="1" indent="-342900">
              <a:buFont typeface="Courier New" panose="02070309020205020404" pitchFamily="49" charset="0"/>
              <a:buChar char="o"/>
            </a:pPr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8FE17C5-66C5-4EB9-A429-248A6ED118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0677" y="1016001"/>
            <a:ext cx="5819775" cy="1190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3518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E352525-9A02-439E-8450-A7F33C8C3DCE}"/>
              </a:ext>
            </a:extLst>
          </p:cNvPr>
          <p:cNvSpPr txBox="1">
            <a:spLocks/>
          </p:cNvSpPr>
          <p:nvPr/>
        </p:nvSpPr>
        <p:spPr>
          <a:xfrm>
            <a:off x="0" y="145143"/>
            <a:ext cx="9483760" cy="7547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cap="all" dirty="0">
                <a:solidFill>
                  <a:srgbClr val="F0553A"/>
                </a:solidFill>
              </a:rPr>
              <a:t>Overview: Infrastructure</a:t>
            </a:r>
          </a:p>
          <a:p>
            <a:r>
              <a:rPr lang="en-US" sz="4000" b="1" cap="all" dirty="0">
                <a:solidFill>
                  <a:srgbClr val="F0553A"/>
                </a:solidFill>
              </a:rPr>
              <a:t>And terrafor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3A3B411-54EF-4237-B34D-4DECACA841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49143" y="609600"/>
            <a:ext cx="5457372" cy="62484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5FB9D26-67D9-49E0-8B1E-1EE5DDBED5A0}"/>
              </a:ext>
            </a:extLst>
          </p:cNvPr>
          <p:cNvSpPr txBox="1"/>
          <p:nvPr/>
        </p:nvSpPr>
        <p:spPr>
          <a:xfrm>
            <a:off x="-58056" y="1335313"/>
            <a:ext cx="6807199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Courier New" panose="02070309020205020404" pitchFamily="49" charset="0"/>
              <a:buChar char="o"/>
            </a:pPr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2x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Load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Balancers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in Public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Subnets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: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Web Interface (ALB) + SSH (ELB – on custom port!)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Access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Logs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are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shipped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to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dedicated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S3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buckets</a:t>
            </a:r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  <a:p>
            <a:pPr marL="800100" lvl="1" indent="-342900">
              <a:buFont typeface="Courier New" panose="02070309020205020404" pitchFamily="49" charset="0"/>
              <a:buChar char="o"/>
            </a:pPr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WAF in front of Application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Load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Balancer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,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leveraging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AWS WAF Security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Automations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CloudFormation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Stack</a:t>
            </a:r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Courier New" panose="02070309020205020404" pitchFamily="49" charset="0"/>
              <a:buChar char="o"/>
            </a:pPr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EC2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instances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running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the web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app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in the private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subnets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, under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Autoscaling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Group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Configuration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files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are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stored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in an S3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bucket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, and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retrieved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at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boot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-time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through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user-data script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together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with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initial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DB schema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checks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/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config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.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RDS / MySQL back-end in Multi-AZ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6463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E352525-9A02-439E-8450-A7F33C8C3DCE}"/>
              </a:ext>
            </a:extLst>
          </p:cNvPr>
          <p:cNvSpPr txBox="1">
            <a:spLocks/>
          </p:cNvSpPr>
          <p:nvPr/>
        </p:nvSpPr>
        <p:spPr>
          <a:xfrm>
            <a:off x="188683" y="261258"/>
            <a:ext cx="9483760" cy="7547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cap="all" dirty="0">
                <a:solidFill>
                  <a:srgbClr val="F0553A"/>
                </a:solidFill>
              </a:rPr>
              <a:t>Live Demo, links and </a:t>
            </a:r>
            <a:r>
              <a:rPr lang="en-US" sz="4000" b="1" cap="all" dirty="0" err="1">
                <a:solidFill>
                  <a:srgbClr val="F0553A"/>
                </a:solidFill>
              </a:rPr>
              <a:t>q&amp;a</a:t>
            </a:r>
            <a:endParaRPr lang="en-US" sz="4000" b="1" cap="all" dirty="0">
              <a:solidFill>
                <a:srgbClr val="F0553A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FB9D26-67D9-49E0-8B1E-1EE5DDBED5A0}"/>
              </a:ext>
            </a:extLst>
          </p:cNvPr>
          <p:cNvSpPr txBox="1"/>
          <p:nvPr/>
        </p:nvSpPr>
        <p:spPr>
          <a:xfrm>
            <a:off x="634335" y="1437369"/>
            <a:ext cx="8592455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Cimpress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Bastion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Host: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chemeClr val="accent2">
                    <a:lumMod val="75000"/>
                  </a:schemeClr>
                </a:solidFill>
                <a:hlinkClick r:id="rId2"/>
              </a:rPr>
              <a:t>https://barbican.ips.cimpress.io/guacamole/#/</a:t>
            </a:r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Courier New" panose="02070309020205020404" pitchFamily="49" charset="0"/>
              <a:buChar char="o"/>
            </a:pPr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GitHub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Repo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: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chemeClr val="accent2">
                    <a:lumMod val="75000"/>
                  </a:schemeClr>
                </a:solidFill>
                <a:hlinkClick r:id="rId3"/>
              </a:rPr>
              <a:t>https://github.com/Cimpress-MCP/IPS_Bastion_Guacamole</a:t>
            </a:r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  <a:p>
            <a:pPr marL="800100" lvl="1" indent="-342900">
              <a:buFont typeface="Courier New" panose="02070309020205020404" pitchFamily="49" charset="0"/>
              <a:buChar char="o"/>
            </a:pPr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Official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Apache </a:t>
            </a:r>
            <a:r>
              <a:rPr lang="it-IT" sz="2000" dirty="0" err="1">
                <a:solidFill>
                  <a:schemeClr val="accent2">
                    <a:lumMod val="75000"/>
                  </a:schemeClr>
                </a:solidFill>
              </a:rPr>
              <a:t>Guacamole</a:t>
            </a:r>
            <a:r>
              <a:rPr lang="it-IT" sz="2000" dirty="0">
                <a:solidFill>
                  <a:schemeClr val="accent2">
                    <a:lumMod val="75000"/>
                  </a:schemeClr>
                </a:solidFill>
              </a:rPr>
              <a:t> Page: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chemeClr val="tx2"/>
                </a:solidFill>
                <a:hlinkClick r:id="rId4"/>
              </a:rPr>
              <a:t>https://guacamole.apache.org/</a:t>
            </a:r>
            <a:endParaRPr lang="it-IT" sz="2000" dirty="0">
              <a:solidFill>
                <a:schemeClr val="tx2"/>
              </a:solidFill>
            </a:endParaRPr>
          </a:p>
          <a:p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  <a:p>
            <a:pPr marL="800100" lvl="1" indent="-342900">
              <a:buFont typeface="Courier New" panose="02070309020205020404" pitchFamily="49" charset="0"/>
              <a:buChar char="o"/>
            </a:pPr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  <a:p>
            <a:pPr marL="800100" lvl="1" indent="-342900">
              <a:buFont typeface="Courier New" panose="02070309020205020404" pitchFamily="49" charset="0"/>
              <a:buChar char="o"/>
            </a:pPr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  <a:p>
            <a:pPr marL="800100" lvl="1" indent="-342900">
              <a:buFont typeface="Courier New" panose="02070309020205020404" pitchFamily="49" charset="0"/>
              <a:buChar char="o"/>
            </a:pPr>
            <a:endParaRPr lang="it-IT" sz="2000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2050" name="Picture 2" descr="Risultati immagini per questions">
            <a:extLst>
              <a:ext uri="{FF2B5EF4-FFF2-40B4-BE49-F238E27FC236}">
                <a16:creationId xmlns:a16="http://schemas.microsoft.com/office/drawing/2014/main" id="{58F8064C-4F6C-41D6-BE30-63FF2C5DD0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8276" y="4278086"/>
            <a:ext cx="4644571" cy="2579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73847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2900688[[fn=Facet]]</Template>
  <TotalTime>218</TotalTime>
  <Words>400</Words>
  <Application>Microsoft Office PowerPoint</Application>
  <PresentationFormat>Widescreen</PresentationFormat>
  <Paragraphs>79</Paragraphs>
  <Slides>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Courier New</vt:lpstr>
      <vt:lpstr>Times New Roman</vt:lpstr>
      <vt:lpstr>Trebuchet MS</vt:lpstr>
      <vt:lpstr>Wingdings 3</vt:lpstr>
      <vt:lpstr>Facet</vt:lpstr>
      <vt:lpstr>Bastion host: apache guacamole </vt:lpstr>
      <vt:lpstr>Cont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tion host: apache guacamole </dc:title>
  <dc:creator>Dario Valiant Casilli</dc:creator>
  <cp:lastModifiedBy>Dario Valiant Casilli</cp:lastModifiedBy>
  <cp:revision>24</cp:revision>
  <dcterms:created xsi:type="dcterms:W3CDTF">2018-04-18T10:08:13Z</dcterms:created>
  <dcterms:modified xsi:type="dcterms:W3CDTF">2018-04-18T14:54:35Z</dcterms:modified>
</cp:coreProperties>
</file>